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9"/>
  </p:notesMasterIdLst>
  <p:handoutMasterIdLst>
    <p:handoutMasterId r:id="rId50"/>
  </p:handoutMasterIdLst>
  <p:sldIdLst>
    <p:sldId id="256" r:id="rId2"/>
    <p:sldId id="257" r:id="rId3"/>
    <p:sldId id="258" r:id="rId4"/>
    <p:sldId id="259" r:id="rId5"/>
    <p:sldId id="260" r:id="rId6"/>
    <p:sldId id="261" r:id="rId7"/>
    <p:sldId id="264" r:id="rId8"/>
    <p:sldId id="263" r:id="rId9"/>
    <p:sldId id="265" r:id="rId10"/>
    <p:sldId id="267" r:id="rId11"/>
    <p:sldId id="305" r:id="rId12"/>
    <p:sldId id="306" r:id="rId13"/>
    <p:sldId id="307" r:id="rId14"/>
    <p:sldId id="308" r:id="rId15"/>
    <p:sldId id="309" r:id="rId16"/>
    <p:sldId id="276" r:id="rId17"/>
    <p:sldId id="262" r:id="rId18"/>
    <p:sldId id="268" r:id="rId19"/>
    <p:sldId id="269" r:id="rId20"/>
    <p:sldId id="277" r:id="rId21"/>
    <p:sldId id="278" r:id="rId22"/>
    <p:sldId id="280" r:id="rId23"/>
    <p:sldId id="281" r:id="rId24"/>
    <p:sldId id="285" r:id="rId25"/>
    <p:sldId id="283" r:id="rId26"/>
    <p:sldId id="288" r:id="rId27"/>
    <p:sldId id="284" r:id="rId28"/>
    <p:sldId id="290" r:id="rId29"/>
    <p:sldId id="289" r:id="rId30"/>
    <p:sldId id="282" r:id="rId31"/>
    <p:sldId id="291" r:id="rId32"/>
    <p:sldId id="300" r:id="rId33"/>
    <p:sldId id="292" r:id="rId34"/>
    <p:sldId id="271" r:id="rId35"/>
    <p:sldId id="301" r:id="rId36"/>
    <p:sldId id="302" r:id="rId37"/>
    <p:sldId id="304" r:id="rId38"/>
    <p:sldId id="303" r:id="rId39"/>
    <p:sldId id="293" r:id="rId40"/>
    <p:sldId id="298" r:id="rId41"/>
    <p:sldId id="297" r:id="rId42"/>
    <p:sldId id="299" r:id="rId43"/>
    <p:sldId id="294" r:id="rId44"/>
    <p:sldId id="296" r:id="rId45"/>
    <p:sldId id="270" r:id="rId46"/>
    <p:sldId id="295" r:id="rId47"/>
    <p:sldId id="273"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DDC855"/>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91822" autoAdjust="0"/>
  </p:normalViewPr>
  <p:slideViewPr>
    <p:cSldViewPr snapToGrid="0">
      <p:cViewPr varScale="1">
        <p:scale>
          <a:sx n="104" d="100"/>
          <a:sy n="104" d="100"/>
        </p:scale>
        <p:origin x="1008" y="120"/>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1/11/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ma</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2386158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841941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11/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1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1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1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1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1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1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1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11/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1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11/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11/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0.gif"/><Relationship Id="rId7" Type="http://schemas.openxmlformats.org/officeDocument/2006/relationships/image" Target="../media/image24.sv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jpg"/><Relationship Id="rId4" Type="http://schemas.openxmlformats.org/officeDocument/2006/relationships/image" Target="../media/image21.gif"/></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28.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9.gif"/><Relationship Id="rId5" Type="http://schemas.openxmlformats.org/officeDocument/2006/relationships/image" Target="../media/image20.gif"/><Relationship Id="rId4" Type="http://schemas.openxmlformats.org/officeDocument/2006/relationships/notesSlide" Target="../notesSlides/notesSlide1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1.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29.gif"/><Relationship Id="rId5" Type="http://schemas.openxmlformats.org/officeDocument/2006/relationships/image" Target="../media/image20.gif"/><Relationship Id="rId4" Type="http://schemas.openxmlformats.org/officeDocument/2006/relationships/notesSlide" Target="../notesSlides/notesSlide20.xml"/></Relationships>
</file>

<file path=ppt/slides/_rels/slide36.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29.gif"/></Relationships>
</file>

<file path=ppt/slides/_rels/slide37.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29.gif"/></Relationships>
</file>

<file path=ppt/slides/_rels/slide38.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29.gi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38.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ideo" Target="https://www.youtube.com/embed/WU0gvPcc3jQ?feature=oembed" TargetMode="External"/><Relationship Id="rId5" Type="http://schemas.openxmlformats.org/officeDocument/2006/relationships/image" Target="../media/image39.jpeg"/><Relationship Id="rId4" Type="http://schemas.openxmlformats.org/officeDocument/2006/relationships/image" Target="../media/image20.gif"/></Relationships>
</file>

<file path=ppt/slides/_rels/slide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42.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x reality (e.g., AR,VR)</a:t>
            </a:r>
          </a:p>
        </p:txBody>
      </p:sp>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Rectangle 1">
            <a:extLst>
              <a:ext uri="{FF2B5EF4-FFF2-40B4-BE49-F238E27FC236}">
                <a16:creationId xmlns:a16="http://schemas.microsoft.com/office/drawing/2014/main" id="{6A13B79C-13D4-4B3B-BA4F-BF1AAE014BB2}"/>
              </a:ext>
            </a:extLst>
          </p:cNvPr>
          <p:cNvSpPr/>
          <p:nvPr/>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4043578" y="245084"/>
            <a:ext cx="4104844"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Butterfly effect</a:t>
            </a:r>
          </a:p>
        </p:txBody>
      </p:sp>
      <p:sp>
        <p:nvSpPr>
          <p:cNvPr id="11" name="Title 1">
            <a:extLst>
              <a:ext uri="{FF2B5EF4-FFF2-40B4-BE49-F238E27FC236}">
                <a16:creationId xmlns:a16="http://schemas.microsoft.com/office/drawing/2014/main" id="{90726455-9778-45D9-9C85-19DE1B271E65}"/>
              </a:ext>
            </a:extLst>
          </p:cNvPr>
          <p:cNvSpPr txBox="1">
            <a:spLocks/>
          </p:cNvSpPr>
          <p:nvPr/>
        </p:nvSpPr>
        <p:spPr>
          <a:xfrm>
            <a:off x="4159523" y="6127742"/>
            <a:ext cx="4104844"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sz="1800" b="1" dirty="0">
                <a:solidFill>
                  <a:srgbClr val="F7743C"/>
                </a:solidFill>
                <a:latin typeface="Saira SemiCondensed ExtraBold" panose="00000906000000000000" pitchFamily="2" charset="0"/>
              </a:rPr>
              <a:t>A place in space and time where Everything is interconnected</a:t>
            </a:r>
          </a:p>
        </p:txBody>
      </p:sp>
      <p:sp>
        <p:nvSpPr>
          <p:cNvPr id="3" name="Rectangle 2">
            <a:extLst>
              <a:ext uri="{FF2B5EF4-FFF2-40B4-BE49-F238E27FC236}">
                <a16:creationId xmlns:a16="http://schemas.microsoft.com/office/drawing/2014/main" id="{A30D9E29-1E66-4BD0-B33A-C57808286349}"/>
              </a:ext>
            </a:extLst>
          </p:cNvPr>
          <p:cNvSpPr/>
          <p:nvPr/>
        </p:nvSpPr>
        <p:spPr>
          <a:xfrm>
            <a:off x="855244" y="3105835"/>
            <a:ext cx="2799164" cy="646331"/>
          </a:xfrm>
          <a:prstGeom prst="rect">
            <a:avLst/>
          </a:prstGeom>
          <a:noFill/>
          <a:effectLst>
            <a:glow rad="127000">
              <a:schemeClr val="accent1"/>
            </a:glow>
          </a:effectLst>
        </p:spPr>
        <p:txBody>
          <a:bodyPr wrap="none" lIns="91440" tIns="45720" rIns="91440" bIns="45720">
            <a:spAutoFit/>
          </a:bodyPr>
          <a:lstStyle/>
          <a:p>
            <a:pPr algn="ctr"/>
            <a:r>
              <a:rPr lang="en-US" sz="3600" dirty="0">
                <a:ln w="0">
                  <a:solidFill>
                    <a:srgbClr val="F7743C"/>
                  </a:solidFill>
                </a:ln>
                <a:gradFill>
                  <a:gsLst>
                    <a:gs pos="0">
                      <a:schemeClr val="accent5">
                        <a:lumMod val="50000"/>
                      </a:schemeClr>
                    </a:gs>
                    <a:gs pos="50000">
                      <a:schemeClr val="accent5"/>
                    </a:gs>
                    <a:gs pos="100000">
                      <a:schemeClr val="accent5">
                        <a:lumMod val="60000"/>
                        <a:lumOff val="40000"/>
                      </a:schemeClr>
                    </a:gs>
                  </a:gsLst>
                  <a:lin ang="5400000"/>
                </a:gradFill>
                <a:effectLst>
                  <a:reflection blurRad="6350" stA="55000" endA="50" endPos="85000" dist="60007" dir="5400000" sy="-100000" algn="bl" rotWithShape="0"/>
                </a:effectLst>
              </a:rPr>
              <a:t>This action will</a:t>
            </a:r>
          </a:p>
        </p:txBody>
      </p:sp>
      <p:sp>
        <p:nvSpPr>
          <p:cNvPr id="12" name="Rectangle 11">
            <a:extLst>
              <a:ext uri="{FF2B5EF4-FFF2-40B4-BE49-F238E27FC236}">
                <a16:creationId xmlns:a16="http://schemas.microsoft.com/office/drawing/2014/main" id="{BC1ABE6A-C483-4D05-85E0-1A479A84A7E6}"/>
              </a:ext>
            </a:extLst>
          </p:cNvPr>
          <p:cNvSpPr/>
          <p:nvPr/>
        </p:nvSpPr>
        <p:spPr>
          <a:xfrm>
            <a:off x="8475534" y="3105835"/>
            <a:ext cx="3716466" cy="646331"/>
          </a:xfrm>
          <a:prstGeom prst="rect">
            <a:avLst/>
          </a:prstGeom>
          <a:noFill/>
          <a:effectLst>
            <a:glow rad="127000">
              <a:schemeClr val="accent1"/>
            </a:glow>
          </a:effectLst>
        </p:spPr>
        <p:txBody>
          <a:bodyPr wrap="none" lIns="91440" tIns="45720" rIns="91440" bIns="45720">
            <a:spAutoFit/>
          </a:bodyPr>
          <a:lstStyle/>
          <a:p>
            <a:pPr algn="ctr"/>
            <a:r>
              <a:rPr lang="en-US" sz="3600" dirty="0">
                <a:ln w="0">
                  <a:solidFill>
                    <a:srgbClr val="F7743C"/>
                  </a:solidFill>
                </a:ln>
                <a:gradFill>
                  <a:gsLst>
                    <a:gs pos="0">
                      <a:schemeClr val="accent5">
                        <a:lumMod val="50000"/>
                      </a:schemeClr>
                    </a:gs>
                    <a:gs pos="50000">
                      <a:schemeClr val="accent5"/>
                    </a:gs>
                    <a:gs pos="100000">
                      <a:schemeClr val="accent5">
                        <a:lumMod val="60000"/>
                        <a:lumOff val="40000"/>
                      </a:schemeClr>
                    </a:gs>
                  </a:gsLst>
                  <a:lin ang="5400000"/>
                </a:gradFill>
                <a:effectLst>
                  <a:reflection blurRad="6350" stA="55000" endA="50" endPos="85000" dist="60007" dir="5400000" sy="-100000" algn="bl" rotWithShape="0"/>
                </a:effectLst>
              </a:rPr>
              <a:t>Have consequences</a:t>
            </a:r>
          </a:p>
        </p:txBody>
      </p:sp>
      <p:pic>
        <p:nvPicPr>
          <p:cNvPr id="1026" name="Picture 2" descr="Butterfly effect - Wikipedia">
            <a:extLst>
              <a:ext uri="{FF2B5EF4-FFF2-40B4-BE49-F238E27FC236}">
                <a16:creationId xmlns:a16="http://schemas.microsoft.com/office/drawing/2014/main" id="{1B6E8837-B857-4986-B448-7CC3E2796E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3262" y="730258"/>
            <a:ext cx="5365477" cy="53654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780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09"/>
            <a:ext cx="2759513" cy="137589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r>
              <a:rPr kumimoji="0" lang="el-GR"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FFFFFF"/>
                </a:solidFill>
                <a:effectLst/>
                <a:uLnTx/>
                <a:uFillTx/>
                <a:latin typeface="Sora"/>
                <a:cs typeface="Sora"/>
                <a:sym typeface="Sora"/>
              </a:rPr>
              <a:t>in physical or virtual world</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302518" cy="90589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classic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5469</TotalTime>
  <Words>1701</Words>
  <Application>Microsoft Office PowerPoint</Application>
  <PresentationFormat>Widescreen</PresentationFormat>
  <Paragraphs>356</Paragraphs>
  <Slides>47</Slides>
  <Notes>27</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7</vt:i4>
      </vt:variant>
    </vt:vector>
  </HeadingPairs>
  <TitlesOfParts>
    <vt:vector size="59" baseType="lpstr">
      <vt:lpstr>Arial</vt: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owerPoint Presentation</vt:lpstr>
      <vt:lpstr>PowerPoint Presentation</vt:lpstr>
      <vt:lpstr>PowerPoint Presentation</vt:lpstr>
      <vt:lpstr>PowerPoint Presentation</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71</cp:revision>
  <dcterms:created xsi:type="dcterms:W3CDTF">2021-12-20T17:41:23Z</dcterms:created>
  <dcterms:modified xsi:type="dcterms:W3CDTF">2022-01-11T13:44:16Z</dcterms:modified>
</cp:coreProperties>
</file>